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</p:sldMasterIdLst>
  <p:notesMasterIdLst>
    <p:notesMasterId r:id="rId9"/>
  </p:notesMasterIdLst>
  <p:handoutMasterIdLst>
    <p:handoutMasterId r:id="rId10"/>
  </p:handoutMasterIdLst>
  <p:sldIdLst>
    <p:sldId id="647" r:id="rId2"/>
    <p:sldId id="651" r:id="rId3"/>
    <p:sldId id="653" r:id="rId4"/>
    <p:sldId id="667" r:id="rId5"/>
    <p:sldId id="664" r:id="rId6"/>
    <p:sldId id="670" r:id="rId7"/>
    <p:sldId id="669" r:id="rId8"/>
  </p:sldIdLst>
  <p:sldSz cx="9144000" cy="6858000" type="screen4x3"/>
  <p:notesSz cx="7010400" cy="9296400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8BF56"/>
    <a:srgbClr val="002060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4" autoAdjust="0"/>
    <p:restoredTop sz="91715" autoAdjust="0"/>
  </p:normalViewPr>
  <p:slideViewPr>
    <p:cSldViewPr snapToGrid="0">
      <p:cViewPr varScale="1">
        <p:scale>
          <a:sx n="97" d="100"/>
          <a:sy n="97" d="100"/>
        </p:scale>
        <p:origin x="730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38474" cy="465139"/>
          </a:xfrm>
          <a:prstGeom prst="rect">
            <a:avLst/>
          </a:prstGeom>
        </p:spPr>
        <p:txBody>
          <a:bodyPr vert="horz" lIns="91751" tIns="45874" rIns="91751" bIns="4587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3" y="1"/>
            <a:ext cx="3038474" cy="465139"/>
          </a:xfrm>
          <a:prstGeom prst="rect">
            <a:avLst/>
          </a:prstGeom>
        </p:spPr>
        <p:txBody>
          <a:bodyPr vert="horz" lIns="91751" tIns="45874" rIns="91751" bIns="4587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6/1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29676"/>
            <a:ext cx="3038474" cy="465139"/>
          </a:xfrm>
          <a:prstGeom prst="rect">
            <a:avLst/>
          </a:prstGeom>
        </p:spPr>
        <p:txBody>
          <a:bodyPr vert="horz" lIns="91751" tIns="45874" rIns="91751" bIns="4587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3" y="8829676"/>
            <a:ext cx="3038474" cy="465139"/>
          </a:xfrm>
          <a:prstGeom prst="rect">
            <a:avLst/>
          </a:prstGeom>
        </p:spPr>
        <p:txBody>
          <a:bodyPr vert="horz" lIns="91751" tIns="45874" rIns="91751" bIns="4587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38474" cy="465139"/>
          </a:xfrm>
          <a:prstGeom prst="rect">
            <a:avLst/>
          </a:prstGeom>
        </p:spPr>
        <p:txBody>
          <a:bodyPr vert="horz" lIns="93493" tIns="46747" rIns="93493" bIns="4674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3" y="1"/>
            <a:ext cx="3038474" cy="465139"/>
          </a:xfrm>
          <a:prstGeom prst="rect">
            <a:avLst/>
          </a:prstGeom>
        </p:spPr>
        <p:txBody>
          <a:bodyPr vert="horz" lIns="93493" tIns="46747" rIns="93493" bIns="4674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6/1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3" tIns="46747" rIns="93493" bIns="46747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16430"/>
            <a:ext cx="5607049" cy="4183063"/>
          </a:xfrm>
          <a:prstGeom prst="rect">
            <a:avLst/>
          </a:prstGeom>
        </p:spPr>
        <p:txBody>
          <a:bodyPr vert="horz" lIns="93493" tIns="46747" rIns="93493" bIns="46747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29676"/>
            <a:ext cx="3038474" cy="465139"/>
          </a:xfrm>
          <a:prstGeom prst="rect">
            <a:avLst/>
          </a:prstGeom>
        </p:spPr>
        <p:txBody>
          <a:bodyPr vert="horz" lIns="93493" tIns="46747" rIns="93493" bIns="4674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3" y="8829676"/>
            <a:ext cx="3038474" cy="465139"/>
          </a:xfrm>
          <a:prstGeom prst="rect">
            <a:avLst/>
          </a:prstGeom>
        </p:spPr>
        <p:txBody>
          <a:bodyPr vert="horz" lIns="93493" tIns="46747" rIns="93493" bIns="4674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30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298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6348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85046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/>
        </p:nvSpPr>
        <p:spPr>
          <a:xfrm>
            <a:off x="2605875" y="4788574"/>
            <a:ext cx="5036084" cy="3139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39775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sz="1600" dirty="0" smtClean="0"/>
              <a:t>June 2018</a:t>
            </a:r>
            <a:endParaRPr lang="en-US" sz="1600" b="1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605874" y="2722801"/>
            <a:ext cx="5502427" cy="1587942"/>
          </a:xfrm>
        </p:spPr>
        <p:txBody>
          <a:bodyPr/>
          <a:lstStyle/>
          <a:p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Travel Agency RFP</a:t>
            </a: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35086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021061"/>
            <a:ext cx="8754413" cy="5175176"/>
          </a:xfrm>
        </p:spPr>
        <p:txBody>
          <a:bodyPr/>
          <a:lstStyle/>
          <a:p>
            <a:endParaRPr lang="en-US" dirty="0" smtClean="0"/>
          </a:p>
          <a:p>
            <a:r>
              <a:rPr lang="en-US" sz="2000" dirty="0" smtClean="0"/>
              <a:t>Reservations only available with </a:t>
            </a:r>
            <a:r>
              <a:rPr lang="en-US" sz="2000" dirty="0" err="1" smtClean="0"/>
              <a:t>Protravel</a:t>
            </a:r>
            <a:r>
              <a:rPr lang="en-US" sz="2000" dirty="0" smtClean="0"/>
              <a:t> by phone (no online option)</a:t>
            </a:r>
            <a:endParaRPr lang="en-US" sz="2000" dirty="0"/>
          </a:p>
          <a:p>
            <a:r>
              <a:rPr lang="en-US" sz="2000" dirty="0" smtClean="0"/>
              <a:t>Manual process for booking approvals</a:t>
            </a:r>
          </a:p>
          <a:p>
            <a:r>
              <a:rPr lang="en-US" sz="2000" dirty="0" smtClean="0"/>
              <a:t>Only 50% of employees booking travel utilize </a:t>
            </a:r>
            <a:r>
              <a:rPr lang="en-US" sz="2000" dirty="0" err="1" smtClean="0"/>
              <a:t>Protravel</a:t>
            </a:r>
            <a:r>
              <a:rPr lang="en-US" sz="2000" dirty="0" smtClean="0"/>
              <a:t> for travel reservations (predominantly for flights)</a:t>
            </a:r>
          </a:p>
          <a:p>
            <a:pPr marL="569913" lvl="1" indent="-225425">
              <a:buFont typeface="Wingdings" panose="05000000000000000000" pitchFamily="2" charset="2"/>
              <a:buChar char="Ø"/>
            </a:pPr>
            <a:r>
              <a:rPr lang="en-US" sz="2000" dirty="0" smtClean="0"/>
              <a:t>Mostly </a:t>
            </a:r>
            <a:r>
              <a:rPr lang="en-US" sz="2000" dirty="0"/>
              <a:t>Research personnel; </a:t>
            </a:r>
            <a:r>
              <a:rPr lang="en-US" sz="2000" dirty="0" err="1" smtClean="0"/>
              <a:t>Protravel</a:t>
            </a:r>
            <a:r>
              <a:rPr lang="en-US" sz="2000" dirty="0" smtClean="0"/>
              <a:t> </a:t>
            </a:r>
            <a:r>
              <a:rPr lang="en-US" sz="2000" dirty="0"/>
              <a:t>direct bills for flights</a:t>
            </a:r>
          </a:p>
          <a:p>
            <a:pPr marL="569913" lvl="1" indent="-225425">
              <a:buFont typeface="Wingdings" panose="05000000000000000000" pitchFamily="2" charset="2"/>
              <a:buChar char="Ø"/>
            </a:pPr>
            <a:r>
              <a:rPr lang="en-US" sz="2000" dirty="0" smtClean="0"/>
              <a:t>Loss of soft dollar benefits to BMC for the 50% that do not use </a:t>
            </a:r>
            <a:r>
              <a:rPr lang="en-US" sz="2000" dirty="0" err="1" smtClean="0"/>
              <a:t>Protravel</a:t>
            </a:r>
            <a:r>
              <a:rPr lang="en-US" sz="2000" dirty="0" smtClean="0"/>
              <a:t> (e.g., points that can be used for free tickets) </a:t>
            </a:r>
          </a:p>
          <a:p>
            <a:r>
              <a:rPr lang="en-US" sz="2000" dirty="0" smtClean="0"/>
              <a:t>Minimal reporting tools available</a:t>
            </a:r>
            <a:endParaRPr lang="en-US" sz="2000" dirty="0"/>
          </a:p>
          <a:p>
            <a:r>
              <a:rPr lang="en-US" sz="2000" dirty="0" smtClean="0"/>
              <a:t>Frequent users unhappy with the service; numerous complaints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vel Agency Current St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065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00429" y="1395363"/>
            <a:ext cx="7837081" cy="4221666"/>
          </a:xfr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1800" b="1" dirty="0" smtClean="0"/>
              <a:t>RFP Goals:</a:t>
            </a:r>
          </a:p>
          <a:p>
            <a:pPr marL="690563" lvl="1" indent="-346075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Improve services to the BMC Community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Ability to build travel policies into the booking tool, requiring less manual effort to review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Allow </a:t>
            </a:r>
            <a:r>
              <a:rPr lang="en-US" sz="1800" dirty="0"/>
              <a:t>for </a:t>
            </a:r>
            <a:r>
              <a:rPr lang="en-US" sz="1800" dirty="0" smtClean="0"/>
              <a:t>online reservations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Reduce manual processes 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Consolidate </a:t>
            </a:r>
            <a:r>
              <a:rPr lang="en-US" sz="1800" dirty="0"/>
              <a:t>t</a:t>
            </a:r>
            <a:r>
              <a:rPr lang="en-US" sz="1800" dirty="0" smtClean="0"/>
              <a:t>ravel bookings (One Agent, One Platform)</a:t>
            </a:r>
            <a:endParaRPr lang="en-US" sz="1800" dirty="0"/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Allow payment by corporate pay or personal credit card 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/>
              <a:t>Offer additional ways to pay for travel, as requested by Research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Agency management of soft dollar benefits (corporate points)</a:t>
            </a:r>
          </a:p>
          <a:p>
            <a:pPr marL="690563" lvl="1" indent="-3460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800" dirty="0" smtClean="0"/>
              <a:t>Improved booking capabilities for HR candidate travel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vel Agency RFP Process Initia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3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FP Proces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93785" y="1160970"/>
            <a:ext cx="8127701" cy="2554545"/>
          </a:xfrm>
          <a:prstGeom prst="rect">
            <a:avLst/>
          </a:prstGeom>
          <a:noFill/>
          <a:ln w="38100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ystem wide, cross-functional selection team was created: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MC Finance: Kathryn Loup, Associate Director Finance Operations; Rene 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aro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Corporate AP Manager; Sam Suneus, AP Supervisor</a:t>
            </a: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MC Research: Todd Erceg, Director of Sponsored Programs</a:t>
            </a: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UMG: Kate Smyth-Hammond, BUMG Operations Office Manager</a:t>
            </a:r>
          </a:p>
          <a:p>
            <a:pPr marL="457200" indent="-223838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MC Health Plan: John Doyle, Procurement and Sourcing Manag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223838">
              <a:buFont typeface="Wingdings" panose="05000000000000000000" pitchFamily="2" charset="2"/>
              <a:buChar char="§"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2"/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Representatives from Research, BUMG, and BMC HR also attended presentations and were able to ask questions and provide feedback; Supply Chain deferred to AP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159828" y="4160215"/>
            <a:ext cx="3461658" cy="2031325"/>
          </a:xfrm>
          <a:prstGeom prst="rect">
            <a:avLst/>
          </a:prstGeom>
          <a:noFill/>
          <a:ln w="38100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gencies Selected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6 invited; 4 presented)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tlas Travel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rlson Wagonlit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orld Travel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travel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(Curren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Vendor)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3785" y="4267937"/>
            <a:ext cx="3537039" cy="1815882"/>
          </a:xfrm>
          <a:prstGeom prst="rect">
            <a:avLst/>
          </a:prstGeom>
          <a:noFill/>
          <a:ln w="38100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gency Requirements: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ase of Use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lectronic Compliance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lectronic Approvals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nsparency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sosceles Triangle 7"/>
          <p:cNvSpPr/>
          <p:nvPr/>
        </p:nvSpPr>
        <p:spPr>
          <a:xfrm rot="5400000">
            <a:off x="3650134" y="4951428"/>
            <a:ext cx="1846659" cy="41812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52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01216" y="1142357"/>
            <a:ext cx="8527026" cy="5175176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b="1" u="sng" dirty="0" smtClean="0"/>
              <a:t>World Travel </a:t>
            </a:r>
            <a:r>
              <a:rPr lang="en-US" dirty="0" smtClean="0"/>
              <a:t>is recommended by the Selection Team for the following reasons:</a:t>
            </a:r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Training</a:t>
            </a:r>
            <a:r>
              <a:rPr lang="en-US" dirty="0" smtClean="0"/>
              <a:t> at rollout and ongoing every</a:t>
            </a:r>
            <a:r>
              <a:rPr lang="en-US" dirty="0"/>
              <a:t> 6 </a:t>
            </a:r>
            <a:r>
              <a:rPr lang="en-US" dirty="0" smtClean="0"/>
              <a:t>months.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Online </a:t>
            </a:r>
            <a:r>
              <a:rPr lang="en-US" dirty="0" smtClean="0"/>
              <a:t>booking software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Variations of Travel Types: </a:t>
            </a:r>
            <a:r>
              <a:rPr lang="en-US" dirty="0" smtClean="0"/>
              <a:t>Research vs. Non Research travel, ability to electronically enforce Federal rules when appropriate but not for all bookings</a:t>
            </a:r>
          </a:p>
          <a:p>
            <a:pPr lvl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400" dirty="0" smtClean="0"/>
              <a:t>This was not the case with Carlson Wagonlit’s online booking tool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dvanced Reporting </a:t>
            </a:r>
            <a:r>
              <a:rPr lang="en-US" dirty="0" smtClean="0"/>
              <a:t>both Standard and Ad-Hoc reporting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/>
              <a:t>World Travel has a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Loc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l Presence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Waived </a:t>
            </a:r>
            <a:r>
              <a:rPr lang="en-US" dirty="0" smtClean="0"/>
              <a:t>Setup Fee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Low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est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stimated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ost </a:t>
            </a:r>
            <a:r>
              <a:rPr lang="en-US" dirty="0" smtClean="0"/>
              <a:t>of all vendors</a:t>
            </a:r>
          </a:p>
          <a:p>
            <a:pPr marL="0" indent="0">
              <a:buNone/>
            </a:pPr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FP Selection Committee Recommend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81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021061"/>
            <a:ext cx="8754413" cy="5175176"/>
          </a:xfrm>
        </p:spPr>
        <p:txBody>
          <a:bodyPr/>
          <a:lstStyle/>
          <a:p>
            <a:r>
              <a:rPr lang="en-US" sz="2000" dirty="0" smtClean="0"/>
              <a:t>Email approval process: email with traveler, itinerary, and any notes will be sent to manager in Signature Authority matrix with buttons to approve or deny</a:t>
            </a:r>
          </a:p>
          <a:p>
            <a:pPr lvl="1"/>
            <a:r>
              <a:rPr lang="en-US" sz="2000" dirty="0" smtClean="0"/>
              <a:t>Travel is not ticketed until approved</a:t>
            </a:r>
          </a:p>
          <a:p>
            <a:pPr lvl="1"/>
            <a:r>
              <a:rPr lang="en-US" sz="2000" dirty="0" smtClean="0"/>
              <a:t>Reminder email sent 12 hours after if no response. Reservation is cancelled after 24 hours</a:t>
            </a:r>
          </a:p>
          <a:p>
            <a:r>
              <a:rPr lang="en-US" sz="2000" dirty="0" smtClean="0"/>
              <a:t>Improves ticket management – tracks unused tickets and credits and will alert users when those are close to expiring </a:t>
            </a:r>
          </a:p>
          <a:p>
            <a:r>
              <a:rPr lang="en-US" sz="2000" dirty="0" smtClean="0"/>
              <a:t>Service at times of travel disruption</a:t>
            </a:r>
          </a:p>
          <a:p>
            <a:pPr lvl="1"/>
            <a:r>
              <a:rPr lang="en-US" sz="2000" dirty="0" smtClean="0"/>
              <a:t>World Travel monitors these and will alert travelers </a:t>
            </a:r>
          </a:p>
          <a:p>
            <a:pPr lvl="1"/>
            <a:r>
              <a:rPr lang="en-US" sz="2000" dirty="0" smtClean="0"/>
              <a:t>Easier </a:t>
            </a:r>
            <a:r>
              <a:rPr lang="en-US" sz="2000" dirty="0" err="1" smtClean="0"/>
              <a:t>rebookings</a:t>
            </a:r>
            <a:r>
              <a:rPr lang="en-US" sz="2000" dirty="0" smtClean="0"/>
              <a:t> </a:t>
            </a:r>
            <a:r>
              <a:rPr lang="en-US" sz="2000" dirty="0"/>
              <a:t>when there is severe weather or other incidents</a:t>
            </a:r>
          </a:p>
          <a:p>
            <a:r>
              <a:rPr lang="en-US" sz="2000" dirty="0" smtClean="0"/>
              <a:t>World Travel monitors ticket prices and if there is a price decrease that makes it worth re-booking, will automatically do so</a:t>
            </a:r>
          </a:p>
          <a:p>
            <a:r>
              <a:rPr lang="en-US" sz="2000" dirty="0" smtClean="0"/>
              <a:t>Better visibility to entire organizations’ travel – World Travel can help negotiate better rates if there is, for example, a hotel that is used frequentl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Use World Trave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7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mplementation takes approximately 60 days</a:t>
            </a:r>
          </a:p>
          <a:p>
            <a:r>
              <a:rPr lang="en-US" dirty="0" smtClean="0"/>
              <a:t>Roll out in July 9</a:t>
            </a:r>
          </a:p>
          <a:p>
            <a:pPr lvl="1"/>
            <a:r>
              <a:rPr lang="en-US" dirty="0" smtClean="0"/>
              <a:t>Communications starting prior</a:t>
            </a:r>
          </a:p>
          <a:p>
            <a:pPr lvl="1"/>
            <a:r>
              <a:rPr lang="en-US" dirty="0" smtClean="0"/>
              <a:t>Training for heavy users and those who wish to attend</a:t>
            </a:r>
          </a:p>
          <a:p>
            <a:pPr lvl="2"/>
            <a:r>
              <a:rPr lang="en-US" dirty="0" smtClean="0"/>
              <a:t>June 27 on site</a:t>
            </a:r>
          </a:p>
          <a:p>
            <a:pPr lvl="2"/>
            <a:r>
              <a:rPr lang="en-US" dirty="0" smtClean="0"/>
              <a:t>June 29 and later dates via </a:t>
            </a:r>
            <a:r>
              <a:rPr lang="en-US" dirty="0" err="1" smtClean="0"/>
              <a:t>GoTo</a:t>
            </a:r>
            <a:r>
              <a:rPr lang="en-US" dirty="0"/>
              <a:t> </a:t>
            </a:r>
            <a:r>
              <a:rPr lang="en-US" dirty="0" smtClean="0"/>
              <a:t>Meeting</a:t>
            </a:r>
          </a:p>
          <a:p>
            <a:pPr lvl="1"/>
            <a:r>
              <a:rPr lang="en-US" dirty="0" smtClean="0"/>
              <a:t>Users can set up profiles or delegate travel booking to admins or others</a:t>
            </a:r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Next Step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766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664</TotalTime>
  <Words>583</Words>
  <Application>Microsoft Office PowerPoint</Application>
  <PresentationFormat>On-screen Show (4:3)</PresentationFormat>
  <Paragraphs>7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Office Theme</vt:lpstr>
      <vt:lpstr>think-cell Slide</vt:lpstr>
      <vt:lpstr> Travel Agency RFP</vt:lpstr>
      <vt:lpstr>Travel Agency Current State</vt:lpstr>
      <vt:lpstr>Travel Agency RFP Process Initiated</vt:lpstr>
      <vt:lpstr>RFP Process</vt:lpstr>
      <vt:lpstr>RFP Selection Committee Recommendation </vt:lpstr>
      <vt:lpstr>Why Use World Travel?</vt:lpstr>
      <vt:lpstr>Next Steps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Erceg, Todd</cp:lastModifiedBy>
  <cp:revision>1514</cp:revision>
  <cp:lastPrinted>2018-05-01T19:00:15Z</cp:lastPrinted>
  <dcterms:created xsi:type="dcterms:W3CDTF">2013-11-18T16:08:48Z</dcterms:created>
  <dcterms:modified xsi:type="dcterms:W3CDTF">2018-06-19T18:40:33Z</dcterms:modified>
</cp:coreProperties>
</file>